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7" r:id="rId2"/>
    <p:sldId id="258" r:id="rId3"/>
    <p:sldId id="259" r:id="rId4"/>
    <p:sldId id="261" r:id="rId5"/>
    <p:sldId id="262" r:id="rId6"/>
    <p:sldId id="260" r:id="rId7"/>
  </p:sldIdLst>
  <p:sldSz cx="9144000" cy="5715000" type="screen16x10"/>
  <p:notesSz cx="6858000" cy="9144000"/>
  <p:custDataLst>
    <p:tags r:id="rId10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307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clrMru>
    <a:srgbClr val="EF3340"/>
    <a:srgbClr val="01965E"/>
    <a:srgbClr val="F8C704"/>
    <a:srgbClr val="005EB8"/>
    <a:srgbClr val="7F7F7F"/>
    <a:srgbClr val="BEB9B3"/>
    <a:srgbClr val="00A8B4"/>
    <a:srgbClr val="FFCD00"/>
    <a:srgbClr val="FFCDB8"/>
    <a:srgbClr val="FFCF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33" autoAdjust="0"/>
    <p:restoredTop sz="69116"/>
  </p:normalViewPr>
  <p:slideViewPr>
    <p:cSldViewPr snapToObjects="1">
      <p:cViewPr varScale="1">
        <p:scale>
          <a:sx n="104" d="100"/>
          <a:sy n="104" d="100"/>
        </p:scale>
        <p:origin x="1600" y="184"/>
      </p:cViewPr>
      <p:guideLst>
        <p:guide orient="horz" pos="167"/>
        <p:guide orient="horz" pos="3070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4" d="100"/>
        <a:sy n="184" d="100"/>
      </p:scale>
      <p:origin x="0" y="71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39D04D9-2D90-E741-8C77-A958108973E5}" type="datetimeFigureOut">
              <a:rPr lang="en-US"/>
              <a:pPr>
                <a:defRPr/>
              </a:pPr>
              <a:t>9/2/22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81337A6-C487-9645-B543-6BBD05A1D1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45393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E7B0BA-8FA8-3A4A-9820-CF1299A8B616}" type="datetime1">
              <a:rPr lang="fi-FI"/>
              <a:pPr>
                <a:defRPr/>
              </a:pPr>
              <a:t>2.9.2022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i-FI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66A5FF2-0573-2649-A39A-26FA52E0537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729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6A5FF2-0573-2649-A39A-26FA52E05379}" type="slidenum">
              <a:rPr lang="fi-FI" smtClean="0"/>
              <a:pPr>
                <a:defRPr/>
              </a:pPr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98803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6A5FF2-0573-2649-A39A-26FA52E05379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38680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creativecommons.org/licenses/by-nc/4.0/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creativecommons.org/licenses/by/4.0/deed.fi" TargetMode="Externa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7110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3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865827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-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114392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61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3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49280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-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283117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3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95305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-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0794431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043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77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-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3859403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4649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461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459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458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33364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3" y="4507364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19403" cy="151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5627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458" y="4729708"/>
            <a:ext cx="2039167" cy="957600"/>
          </a:xfrm>
          <a:prstGeom prst="rect">
            <a:avLst/>
          </a:prstGeom>
        </p:spPr>
      </p:pic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875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91" y="4732371"/>
            <a:ext cx="1979878" cy="957600"/>
          </a:xfrm>
          <a:prstGeom prst="rect">
            <a:avLst/>
          </a:prstGeom>
        </p:spPr>
      </p:pic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148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35" y="4730907"/>
            <a:ext cx="2071506" cy="9576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8316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73324"/>
            <a:ext cx="8207374" cy="332437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889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7082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D4F5D4-B9BE-44F8-96C7-1C557ABCEE05}" type="datetime1">
              <a:rPr lang="fi-FI" smtClean="0"/>
              <a:t>2.9.2022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0590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815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6971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0000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AAC3E7-FF06-4D99-B9A7-10BD4542BFB8}" type="datetime1">
              <a:rPr lang="fi-FI" smtClean="0"/>
              <a:t>2.9.2022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01429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C33CCD-9C0F-4F50-B300-ED98B7FFFC45}" type="datetime1">
              <a:rPr lang="fi-FI" smtClean="0"/>
              <a:t>2.9.2022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889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00820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049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2ECC5E-FBF9-4BBA-8E4E-908F083515A2}" type="datetime1">
              <a:rPr lang="fi-FI" smtClean="0"/>
              <a:t>2.9.2022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0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0590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7522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52BF5-BF61-4F2B-B633-26CA257B268F}" type="datetime1">
              <a:rPr lang="fi-FI" smtClean="0"/>
              <a:t>2.9.2022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4726800"/>
            <a:ext cx="1975104" cy="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1971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3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19399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19574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299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12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äm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 teos on lisensoitu 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reative 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Commons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Nimeä-</a:t>
            </a:r>
            <a:r>
              <a:rPr lang="fi-FI" sz="900" b="0" i="0" u="none" strike="noStrike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EiKaupallinen</a:t>
            </a:r>
            <a:r>
              <a:rPr lang="fi-FI" sz="9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  <a:hlinkClick r:id="rId4"/>
              </a:rPr>
              <a:t> 4.0 Kansainvälinen -lisenssillä</a:t>
            </a:r>
            <a:r>
              <a:rPr lang="fi-FI" sz="9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charset="0"/>
                <a:cs typeface="ＭＳ Ｐゴシック" charset="0"/>
              </a:rPr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179048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83793" y="5244959"/>
            <a:ext cx="670557" cy="236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7"/>
          <p:cNvSpPr txBox="1">
            <a:spLocks/>
          </p:cNvSpPr>
          <p:nvPr userDrawn="1"/>
        </p:nvSpPr>
        <p:spPr>
          <a:xfrm>
            <a:off x="1247290" y="5304814"/>
            <a:ext cx="6696744" cy="13493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900" dirty="0"/>
              <a:t>Jos </a:t>
            </a:r>
            <a:r>
              <a:rPr lang="en-US" sz="900" dirty="0" err="1"/>
              <a:t>ei</a:t>
            </a:r>
            <a:r>
              <a:rPr lang="en-US" sz="900" dirty="0"/>
              <a:t> </a:t>
            </a:r>
            <a:r>
              <a:rPr lang="en-US" sz="900" dirty="0" err="1"/>
              <a:t>toisin</a:t>
            </a:r>
            <a:r>
              <a:rPr lang="en-US" sz="900" dirty="0"/>
              <a:t> </a:t>
            </a:r>
            <a:r>
              <a:rPr lang="en-US" sz="900" dirty="0" err="1"/>
              <a:t>ilmoiteta</a:t>
            </a:r>
            <a:r>
              <a:rPr lang="en-US" sz="900" dirty="0"/>
              <a:t>, t</a:t>
            </a:r>
            <a:r>
              <a:rPr lang="fi-FI" sz="900" dirty="0" err="1"/>
              <a:t>ämä</a:t>
            </a:r>
            <a:r>
              <a:rPr lang="fi-FI" sz="900" dirty="0"/>
              <a:t> teos on lisensoitu </a:t>
            </a:r>
            <a:r>
              <a:rPr lang="fi-FI" sz="900" dirty="0">
                <a:hlinkClick r:id="rId4"/>
              </a:rPr>
              <a:t>Creative </a:t>
            </a:r>
            <a:r>
              <a:rPr lang="fi-FI" sz="900" dirty="0" err="1">
                <a:hlinkClick r:id="rId4"/>
              </a:rPr>
              <a:t>Commons</a:t>
            </a:r>
            <a:r>
              <a:rPr lang="fi-FI" sz="900" dirty="0">
                <a:hlinkClick r:id="rId4"/>
              </a:rPr>
              <a:t> Nimeä 4.0 Kansainvälinen -lisenssillä</a:t>
            </a:r>
            <a:r>
              <a:rPr lang="fi-FI" sz="900" dirty="0"/>
              <a:t>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779677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00200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18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0249B7-9ABD-004D-9F4D-B046E28B4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349657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37" imgW="7772400" imgH="10058400" progId="TCLayout.ActiveDocument.1">
                  <p:embed/>
                </p:oleObj>
              </mc:Choice>
              <mc:Fallback>
                <p:oleObj name="think-cell Slide" r:id="rId37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0249B7-9ABD-004D-9F4D-B046E28B4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BE25FDA-FC60-4CD1-8B31-9147F8CC3D25}" type="datetime1">
              <a:rPr lang="fi-FI" smtClean="0"/>
              <a:t>2.9.2022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68" r:id="rId2"/>
    <p:sldLayoutId id="2147484774" r:id="rId3"/>
    <p:sldLayoutId id="2147484748" r:id="rId4"/>
    <p:sldLayoutId id="2147484769" r:id="rId5"/>
    <p:sldLayoutId id="2147484775" r:id="rId6"/>
    <p:sldLayoutId id="2147484776" r:id="rId7"/>
    <p:sldLayoutId id="2147484770" r:id="rId8"/>
    <p:sldLayoutId id="2147484749" r:id="rId9"/>
    <p:sldLayoutId id="2147484750" r:id="rId10"/>
    <p:sldLayoutId id="2147484771" r:id="rId11"/>
    <p:sldLayoutId id="2147484777" r:id="rId12"/>
    <p:sldLayoutId id="2147484778" r:id="rId13"/>
    <p:sldLayoutId id="2147484772" r:id="rId14"/>
    <p:sldLayoutId id="2147484751" r:id="rId15"/>
    <p:sldLayoutId id="2147484752" r:id="rId16"/>
    <p:sldLayoutId id="2147484773" r:id="rId17"/>
    <p:sldLayoutId id="2147484779" r:id="rId18"/>
    <p:sldLayoutId id="2147484753" r:id="rId19"/>
    <p:sldLayoutId id="2147484754" r:id="rId20"/>
    <p:sldLayoutId id="2147484755" r:id="rId21"/>
    <p:sldLayoutId id="2147484756" r:id="rId22"/>
    <p:sldLayoutId id="2147484757" r:id="rId23"/>
    <p:sldLayoutId id="2147484758" r:id="rId24"/>
    <p:sldLayoutId id="2147484759" r:id="rId25"/>
    <p:sldLayoutId id="2147484760" r:id="rId26"/>
    <p:sldLayoutId id="2147484761" r:id="rId27"/>
    <p:sldLayoutId id="2147484762" r:id="rId28"/>
    <p:sldLayoutId id="2147484763" r:id="rId29"/>
    <p:sldLayoutId id="2147484764" r:id="rId30"/>
    <p:sldLayoutId id="2147484765" r:id="rId31"/>
    <p:sldLayoutId id="2147484766" r:id="rId32"/>
    <p:sldLayoutId id="2147484767" r:id="rId33"/>
  </p:sldLayoutIdLst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9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285B35-B7EA-F841-9208-83851A47A5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9784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285B35-B7EA-F841-9208-83851A47A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4059C6-CA62-F140-BDD3-5F8A31CEA7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754" y="1291300"/>
            <a:ext cx="8207375" cy="1871880"/>
          </a:xfrm>
        </p:spPr>
        <p:txBody>
          <a:bodyPr vert="horz"/>
          <a:lstStyle/>
          <a:p>
            <a:r>
              <a:rPr lang="fi-FI" sz="4800" dirty="0"/>
              <a:t>Subjektiivisen hyvinvoinnin ja BKT:n kasvun välisestä korrelaatiosta (aihe-esittely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AE4BDE-1519-054E-AE0A-2112D9C6D9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9754" y="3289548"/>
            <a:ext cx="5495420" cy="660000"/>
          </a:xfrm>
        </p:spPr>
        <p:txBody>
          <a:bodyPr/>
          <a:lstStyle/>
          <a:p>
            <a:r>
              <a:rPr lang="fi-FI"/>
              <a:t>Johan Lindell</a:t>
            </a:r>
          </a:p>
          <a:p>
            <a:r>
              <a:rPr lang="fi-FI"/>
              <a:t>02.09.2022</a:t>
            </a:r>
          </a:p>
          <a:p>
            <a:endParaRPr lang="fi-FI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6A521B5-BF5A-994A-A291-781A63152F39}"/>
              </a:ext>
            </a:extLst>
          </p:cNvPr>
          <p:cNvSpPr txBox="1">
            <a:spLocks/>
          </p:cNvSpPr>
          <p:nvPr/>
        </p:nvSpPr>
        <p:spPr>
          <a:xfrm>
            <a:off x="439754" y="4423700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600" i="1" kern="1200">
                <a:solidFill>
                  <a:schemeClr val="bg1"/>
                </a:solidFill>
                <a:latin typeface="Georgia"/>
                <a:ea typeface="ＭＳ Ｐゴシック" charset="0"/>
                <a:cs typeface="Georgia"/>
              </a:defRPr>
            </a:lvl1pPr>
            <a:lvl2pPr marL="4572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9144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3716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ヒラギノ角ゴ Pro W3" charset="-128"/>
                <a:cs typeface="ヒラギノ角ゴ Pro W3" charset="0"/>
              </a:defRPr>
            </a:lvl4pPr>
            <a:lvl5pPr marL="18288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/>
              <a:t>Ohjaaja: Assoc. Prof. Pauliina Ilmonen</a:t>
            </a:r>
          </a:p>
          <a:p>
            <a:r>
              <a:rPr lang="fi-FI"/>
              <a:t>Valvoja: Assoc. Prof. Pauliina Ilmonen</a:t>
            </a:r>
          </a:p>
        </p:txBody>
      </p:sp>
    </p:spTree>
    <p:extLst>
      <p:ext uri="{BB962C8B-B14F-4D97-AF65-F5344CB8AC3E}">
        <p14:creationId xmlns:p14="http://schemas.microsoft.com/office/powerpoint/2010/main" val="965700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ADCDDD-3D89-EE40-8A95-60160CB746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1066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ADCDDD-3D89-EE40-8A95-60160CB74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741420-95AA-724F-BC89-B5D75EA533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Taus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C2CD54-F3CE-254D-9942-F8B70CFC29B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BKT kasvua käytetään usein kansakunnan hyvinvoinnin indikaattorina</a:t>
            </a:r>
          </a:p>
          <a:p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Nykyisessä kirjallisuudessa ei ole yksimielisyyttä hyvinvoinnin ja BKT kasvun korrelaatiosta</a:t>
            </a:r>
          </a:p>
          <a:p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Esim. </a:t>
            </a:r>
            <a:r>
              <a:rPr lang="fi-FI" dirty="0" err="1"/>
              <a:t>Easterlin</a:t>
            </a:r>
            <a:r>
              <a:rPr lang="fi-FI" dirty="0"/>
              <a:t> Paradoksi ja siihen liittyvä kirjallisuu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20149B-4B4C-F246-9ABF-1D865287FF6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55E1C-5164-4649-BDE1-D85CBF46A9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0554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11467D-3CEB-7340-A7AC-01A87141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271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11467D-3CEB-7340-A7AC-01A87141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43959E-C8D3-D540-8453-B886BF9A1D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Tavoi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7842D2-1F10-C043-BC9C-1DB4CC3A882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Analysoida BKT:n ja subjektiivisen hyvinvoinnin korrelaatiota</a:t>
            </a:r>
          </a:p>
          <a:p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Subjektiivisen hyvinvoinnin indikaattorina </a:t>
            </a:r>
            <a:r>
              <a:rPr lang="fi-FI" dirty="0" err="1"/>
              <a:t>affect</a:t>
            </a:r>
            <a:r>
              <a:rPr lang="fi-FI" dirty="0"/>
              <a:t> </a:t>
            </a:r>
            <a:r>
              <a:rPr lang="fi-FI" dirty="0" err="1"/>
              <a:t>balance</a:t>
            </a:r>
            <a:endParaRPr lang="fi-FI" dirty="0"/>
          </a:p>
          <a:p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Vertailla löydöksiä olemassa olevan kirjallisuuden kanss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708E92-9DE5-E34B-8AD6-4F8A32C0384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10D5A-1066-4649-A079-A710427F284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10179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11467D-3CEB-7340-A7AC-01A87141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2135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11467D-3CEB-7340-A7AC-01A87141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43959E-C8D3-D540-8453-B886BF9A1D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Menetelmät ja työkal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7842D2-1F10-C043-BC9C-1DB4CC3A882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8314" y="1273324"/>
            <a:ext cx="4860486" cy="332437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Työkalut: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MS Exc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Analysoida BKT:n kasvun vaikutusta subprime-kriisin aikoina (2007-201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K:n keskiarvon </a:t>
            </a:r>
            <a:r>
              <a:rPr lang="fi-FI" dirty="0" err="1"/>
              <a:t>klusterointi</a:t>
            </a:r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Lineaarinen regress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23 OECD maata vuosina 2006-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dirty="0"/>
          </a:p>
          <a:p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708E92-9DE5-E34B-8AD6-4F8A32C0384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10D5A-1066-4649-A079-A710427F284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EC47AE-0FAF-4748-AD87-2B1A9BA0C6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0072" y="153360"/>
            <a:ext cx="4011916" cy="27774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751A3EB-1563-BA4E-B0E4-D4B212902C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8800" y="2744455"/>
            <a:ext cx="3075812" cy="212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547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FB5AA9-3A9A-1449-9CB1-6556CF384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2689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0AA6E0-BF49-6C4C-AE7A-70C3D37288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Aikataul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4B9245-6CAF-3D42-B686-7F463F84F9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Aiheen esittely 2.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Työn kirjoittaminen on edennyt hyvin ja työ tulee valmiiksi syksyn aikan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EE0C01-BAD5-344D-B80C-0E9216FB32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545B52-2E46-F742-B69A-94A58D7E7E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99625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11467D-3CEB-7340-A7AC-01A87141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308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11467D-3CEB-7340-A7AC-01A87141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43959E-C8D3-D540-8453-B886BF9A1D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Tietolähteet ja aineisto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7842D2-1F10-C043-BC9C-1DB4CC3A882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Richard A. </a:t>
            </a:r>
            <a:r>
              <a:rPr lang="en-GB" b="0" dirty="0" err="1"/>
              <a:t>Easterlin</a:t>
            </a:r>
            <a:r>
              <a:rPr lang="en-GB" b="0" dirty="0"/>
              <a:t>. Does economic growth improve the human lot? some empirical evidenc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What makes for a better life?: The determinants of subjective</a:t>
            </a:r>
            <a:br>
              <a:rPr lang="en-GB" b="0" dirty="0"/>
            </a:br>
            <a:r>
              <a:rPr lang="en-GB" b="0" dirty="0"/>
              <a:t>well-being in OECD countries - evidence from the </a:t>
            </a:r>
            <a:r>
              <a:rPr lang="en-GB" b="0" dirty="0" err="1"/>
              <a:t>gallup</a:t>
            </a:r>
            <a:r>
              <a:rPr lang="en-GB" b="0" dirty="0"/>
              <a:t> world poll. OECD Statistics Working Papers, 201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The World Bank Datab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dirty="0"/>
              <a:t>OECD How’s life? Well-Being datas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708E92-9DE5-E34B-8AD6-4F8A32C0384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2C68F6D-8348-4D45-8DA8-FD9DC128913F}" type="datetime1">
              <a:rPr lang="fi-FI" smtClean="0"/>
              <a:t>2.9.2022</a:t>
            </a:fld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10D5A-1066-4649-A079-A710427F284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2719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6D32AF40-3D2D-41F9-A29D-FD094D788296}" vid="{5E902124-47C2-40CF-8377-D0377EEBF5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ALTO_FI</Template>
  <TotalTime>0</TotalTime>
  <Words>195</Words>
  <Application>Microsoft Macintosh PowerPoint</Application>
  <PresentationFormat>On-screen Show (16:10)</PresentationFormat>
  <Paragraphs>46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ourier New</vt:lpstr>
      <vt:lpstr>Georgia</vt:lpstr>
      <vt:lpstr>Lucida Grande</vt:lpstr>
      <vt:lpstr>Aalto University</vt:lpstr>
      <vt:lpstr>think-cell Slide</vt:lpstr>
      <vt:lpstr>Subjektiivisen hyvinvoinnin ja BKT:n kasvun välisestä korrelaatiosta (aihe-esittely)</vt:lpstr>
      <vt:lpstr>Tausta</vt:lpstr>
      <vt:lpstr>Tavoite</vt:lpstr>
      <vt:lpstr>Menetelmät ja työkalut</vt:lpstr>
      <vt:lpstr>Aikataulu</vt:lpstr>
      <vt:lpstr>Tietolähteet ja aineisto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9-12T10:23:25Z</dcterms:created>
  <dcterms:modified xsi:type="dcterms:W3CDTF">2022-09-02T11:56:38Z</dcterms:modified>
</cp:coreProperties>
</file>